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5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3" d="100"/>
          <a:sy n="93" d="100"/>
        </p:scale>
        <p:origin x="78" y="3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 January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BE6265D-390D-43FF-9B95-97A37807AB62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ecupere hasta 40 % del aire de soplad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28578"/>
            <a:ext cx="7997825" cy="27622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: Air Recovery Kit (kit de recuperación de aire)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Optimización de </a:t>
            </a:r>
            <a:r>
              <a:rPr kumimoji="0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os</a:t>
            </a:r>
            <a:r>
              <a:rPr lang="fr-FR" dirty="0">
                <a:solidFill>
                  <a:srgbClr val="000000"/>
                </a:solidFill>
              </a:rPr>
              <a:t>, </a:t>
            </a:r>
            <a:r>
              <a:rPr lang="fr-FR">
                <a:solidFill>
                  <a:srgbClr val="000000"/>
                </a:solidFill>
              </a:rPr>
              <a:t>Sostenibilidad</a:t>
            </a:r>
            <a:endParaRPr kumimoji="0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o: sopladoras Series 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ódigo de catálogo: 543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Y VENTAJAS</a:t>
                      </a:r>
                      <a:endParaRPr kumimoji="0" lang="es-ES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CIÓN</a:t>
                      </a:r>
                      <a:endParaRPr kumimoji="0" lang="es-ES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Ahorros de al menos 15 % y hasta un 40 % en 40 bares de aire </a:t>
                      </a:r>
                      <a:r>
                        <a:rPr lang="en-US" sz="1200" b="0" dirty="0"/>
                        <a:t>según los parámetros del proces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Ahorros del 100 % en 7 bares de aire </a:t>
                      </a:r>
                      <a:r>
                        <a:rPr lang="en-US" sz="1200" b="0" dirty="0"/>
                        <a:t>en un 95 % de las aplicaciones. Solo se requieren 20 Nm3/h</a:t>
                      </a:r>
                      <a:br/>
                      <a:r>
                        <a:rPr lang="en-US" sz="1200" b="0" dirty="0"/>
                        <a:t>durante el arranque para cebar el sistema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Calidad uniforme de botellas </a:t>
                      </a:r>
                      <a:r>
                        <a:rPr lang="en-US" sz="1200" b="0" dirty="0"/>
                        <a:t>sin variación en los parámetros del proces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/>
                        <a:t>Confiabilidad operacional: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no se requiere mantenimiento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Menor inversión: </a:t>
                      </a:r>
                      <a:r>
                        <a:rPr lang="en-US" sz="1200" b="0" dirty="0"/>
                        <a:t>los compresores están dimensionados para una perfecta adaptación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La cantidad de aire recuperado está vinculada al tipo de sopladoras y también depende de las condiciones de producción.</a:t>
                      </a:r>
                    </a:p>
                    <a:p>
                      <a:pPr marL="357188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locidad de la máquina, número de puestos de soplado, presión de presoplado y soplado, capacidad de la botella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El aire recuperado podría ser reutilizado para generar: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re de presoplado;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re para los cilindros de alargamiento y de tobera;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ire de baja presión en el exterior de la máquina (la sopladora actúa como un compresor de baja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sió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s-E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ra instalar esta O&amp;U se requiere como mínimo la versión de PCC (puesto de mando) V2.02. En el caso de las versiones más antiguas, es necesario actualizar el PCC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1" name="Picture 11" descr="543_serie 2_a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662" y="4994888"/>
            <a:ext cx="1139083" cy="700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1A37D6ED-B78E-4600-9AEF-FC6B360E1489}"/>
              </a:ext>
            </a:extLst>
          </p:cNvPr>
          <p:cNvSpPr/>
          <p:nvPr/>
        </p:nvSpPr>
        <p:spPr>
          <a:xfrm>
            <a:off x="4771170" y="1743075"/>
            <a:ext cx="3878540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ESCRIPCIÓN</a:t>
            </a:r>
            <a:endParaRPr kumimoji="0" lang="es-ES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515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65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cupere hasta 40 % del aire de soplad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21-01-04T16:02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6:32.1993181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